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32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1.xml" ContentType="application/vnd.openxmlformats-officedocument.theme+xml"/>
  <Override PartName="/ppt/authors.xml" ContentType="application/vnd.ms-powerpoint.authors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5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  <Override PartName="/ppt/revisionInfo.xml" ContentType="application/vnd.ms-powerpoint.revisioninfo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5" r:id="rId1"/>
    <p:sldMasterId id="2147483701" r:id="rId2"/>
    <p:sldMasterId id="2147483717" r:id="rId3"/>
  </p:sldMasterIdLst>
  <p:notesMasterIdLst>
    <p:notesMasterId r:id="rId11"/>
  </p:notesMasterIdLst>
  <p:handoutMasterIdLst>
    <p:handoutMasterId r:id="rId12"/>
  </p:handoutMasterIdLst>
  <p:sldIdLst>
    <p:sldId id="2147483330" r:id="rId4"/>
    <p:sldId id="2147483343" r:id="rId5"/>
    <p:sldId id="2147483336" r:id="rId6"/>
    <p:sldId id="2147483341" r:id="rId7"/>
    <p:sldId id="2147483338" r:id="rId8"/>
    <p:sldId id="2142532686" r:id="rId9"/>
    <p:sldId id="2147483334" r:id="rId10"/>
  </p:sldIdLst>
  <p:sldSz cx="18288000" cy="10287000"/>
  <p:notesSz cx="7023100" cy="9309100"/>
  <p:embeddedFontLst>
    <p:embeddedFont>
      <p:font typeface="OSWALD" panose="00000500000000000000" pitchFamily="2" charset="0"/>
      <p:regular r:id="rId13"/>
      <p:bold r:id="rId14"/>
    </p:embeddedFont>
    <p:embeddedFont>
      <p:font typeface="OSWALD" panose="00000500000000000000" pitchFamily="2" charset="0"/>
      <p:regular r:id="rId13"/>
      <p:bold r:id="rId1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CD5E91B-D162-528A-9E17-05634883C36C}" name="BROWN, CQ JR Gen USAF HAF AF/CC" initials="BCQJGUHA" userId="BROWN, CQ JR Gen USAF HAF AF/CC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808080"/>
    <a:srgbClr val="777777"/>
    <a:srgbClr val="FFD347"/>
    <a:srgbClr val="FFFFFF"/>
    <a:srgbClr val="17375E"/>
    <a:srgbClr val="102639"/>
    <a:srgbClr val="FECA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FB32EC-7A7D-4203-81A9-4E06157E0578}" v="2" dt="2026-02-25T12:52:39.078"/>
    <p1510:client id="{94968BF3-B47D-4782-A3A2-2E09752DC9ED}" v="4" dt="2026-02-20T18:16:04.9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846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font" Target="fonts/font1.fntdata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customXml" Target="../customXml/item1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20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23" Type="http://schemas.openxmlformats.org/officeDocument/2006/relationships/customXml" Target="../customXml/item3.xml"/><Relationship Id="rId10" Type="http://schemas.openxmlformats.org/officeDocument/2006/relationships/slide" Target="slides/slide7.xml"/><Relationship Id="rId19" Type="http://schemas.microsoft.com/office/2015/10/relationships/revisionInfo" Target="revisionInfo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font" Target="fonts/font2.fntdata"/><Relationship Id="rId22" Type="http://schemas.openxmlformats.org/officeDocument/2006/relationships/customXml" Target="../customXml/item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D8720BF-77F4-E702-775D-0A67329E815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3043238" cy="466725"/>
          </a:xfrm>
          <a:prstGeom prst="rect">
            <a:avLst/>
          </a:prstGeom>
        </p:spPr>
        <p:txBody>
          <a:bodyPr vert="horz" lIns="91773" tIns="45887" rIns="91773" bIns="4588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10B403-6027-6D8E-AD04-96F8BE7250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8276" y="1"/>
            <a:ext cx="3043238" cy="466725"/>
          </a:xfrm>
          <a:prstGeom prst="rect">
            <a:avLst/>
          </a:prstGeom>
        </p:spPr>
        <p:txBody>
          <a:bodyPr vert="horz" lIns="91773" tIns="45887" rIns="91773" bIns="45887" rtlCol="0"/>
          <a:lstStyle>
            <a:lvl1pPr algn="r">
              <a:defRPr sz="1200"/>
            </a:lvl1pPr>
          </a:lstStyle>
          <a:p>
            <a:fld id="{67CA88C3-3EC8-4C9E-A37C-4BA343E25050}" type="datetimeFigureOut">
              <a:rPr lang="en-US" smtClean="0"/>
              <a:t>2/25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919DEE-8616-3A16-9096-5E6FCF168D7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8842375"/>
            <a:ext cx="3043238" cy="466725"/>
          </a:xfrm>
          <a:prstGeom prst="rect">
            <a:avLst/>
          </a:prstGeom>
        </p:spPr>
        <p:txBody>
          <a:bodyPr vert="horz" lIns="91773" tIns="45887" rIns="91773" bIns="4588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D9C3C0-3C4C-25A2-5E78-9C782B65461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8276" y="8842375"/>
            <a:ext cx="3043238" cy="466725"/>
          </a:xfrm>
          <a:prstGeom prst="rect">
            <a:avLst/>
          </a:prstGeom>
        </p:spPr>
        <p:txBody>
          <a:bodyPr vert="horz" lIns="91773" tIns="45887" rIns="91773" bIns="45887" rtlCol="0" anchor="b"/>
          <a:lstStyle>
            <a:lvl1pPr algn="r">
              <a:defRPr sz="1200"/>
            </a:lvl1pPr>
          </a:lstStyle>
          <a:p>
            <a:fld id="{2A69C158-D9BD-4AEC-85B3-E9C661EA64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7977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1"/>
          </a:xfrm>
          <a:prstGeom prst="rect">
            <a:avLst/>
          </a:prstGeom>
        </p:spPr>
        <p:txBody>
          <a:bodyPr vert="horz" lIns="93657" tIns="46828" rIns="93657" bIns="4682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3" y="0"/>
            <a:ext cx="3043343" cy="467071"/>
          </a:xfrm>
          <a:prstGeom prst="rect">
            <a:avLst/>
          </a:prstGeom>
        </p:spPr>
        <p:txBody>
          <a:bodyPr vert="horz" lIns="93657" tIns="46828" rIns="93657" bIns="46828" rtlCol="0"/>
          <a:lstStyle>
            <a:lvl1pPr algn="r">
              <a:defRPr sz="1200"/>
            </a:lvl1pPr>
          </a:lstStyle>
          <a:p>
            <a:fld id="{C529EB87-BA9D-4D12-8F61-A2CA6438A4DB}" type="datetimeFigureOut">
              <a:rPr lang="en-US" smtClean="0"/>
              <a:t>2/25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1163638"/>
            <a:ext cx="5581650" cy="314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57" tIns="46828" rIns="93657" bIns="4682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6"/>
            <a:ext cx="5618480" cy="3665459"/>
          </a:xfrm>
          <a:prstGeom prst="rect">
            <a:avLst/>
          </a:prstGeom>
        </p:spPr>
        <p:txBody>
          <a:bodyPr vert="horz" lIns="93657" tIns="46828" rIns="93657" bIns="4682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0"/>
          </a:xfrm>
          <a:prstGeom prst="rect">
            <a:avLst/>
          </a:prstGeom>
        </p:spPr>
        <p:txBody>
          <a:bodyPr vert="horz" lIns="93657" tIns="46828" rIns="93657" bIns="4682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3" y="8842030"/>
            <a:ext cx="3043343" cy="467070"/>
          </a:xfrm>
          <a:prstGeom prst="rect">
            <a:avLst/>
          </a:prstGeom>
        </p:spPr>
        <p:txBody>
          <a:bodyPr vert="horz" lIns="93657" tIns="46828" rIns="93657" bIns="46828" rtlCol="0" anchor="b"/>
          <a:lstStyle>
            <a:lvl1pPr algn="r">
              <a:defRPr sz="1200"/>
            </a:lvl1pPr>
          </a:lstStyle>
          <a:p>
            <a:fld id="{DDC451B7-E0B9-44D1-8CBA-6551C1F4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2274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C451B7-E0B9-44D1-8CBA-6551C1F40DD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5546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C451B7-E0B9-44D1-8CBA-6551C1F40DD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7398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C451B7-E0B9-44D1-8CBA-6551C1F40DD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6453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eople engaging in an exercise (SF doing anti-drone, people in MOPP gear, People practicing ACE, </a:t>
            </a:r>
            <a:r>
              <a:rPr lang="en-US" err="1"/>
              <a:t>etc</a:t>
            </a:r>
            <a:r>
              <a:rPr lang="en-US"/>
              <a:t> … make it more support/people focused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C451B7-E0B9-44D1-8CBA-6551C1F40DD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8850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-52 engine upgrade picture – Lockheed? Whoever got the contract</a:t>
            </a:r>
          </a:p>
          <a:p>
            <a:r>
              <a:rPr lang="en-US"/>
              <a:t>B-52 historical progression? Could have a picture series showing how the Buff has evolved over time and in different conflicts and is still relevant because of modernization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C451B7-E0B9-44D1-8CBA-6551C1F40DD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8275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apture the following:</a:t>
            </a:r>
          </a:p>
          <a:p>
            <a:r>
              <a:rPr lang="en-US"/>
              <a:t>Warrior ethos, sense of community, family, unit pri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C451B7-E0B9-44D1-8CBA-6551C1F40DD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776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1683545"/>
            <a:ext cx="13716000" cy="3581400"/>
          </a:xfrm>
          <a:prstGeom prst="rect">
            <a:avLst/>
          </a:prstGeom>
        </p:spPr>
        <p:txBody>
          <a:bodyPr anchor="b"/>
          <a:lstStyle>
            <a:lvl1pPr algn="ctr"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5403057"/>
            <a:ext cx="13716000" cy="248364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B72BA555-E4DD-4B5B-93AE-AF8F25BCB338}" type="datetime1">
              <a:rPr lang="en-US" smtClean="0"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classifi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6049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2738438"/>
            <a:ext cx="15773400" cy="652700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0656E62C-500A-419E-A67C-B783351EC14B}" type="datetime1">
              <a:rPr lang="en-US" smtClean="0"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9131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0" y="547688"/>
            <a:ext cx="3943350" cy="8717757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547688"/>
            <a:ext cx="11601450" cy="871775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7E63F12A-04D1-447A-864A-F0224376A8EA}" type="datetime1">
              <a:rPr lang="en-US" smtClean="0"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0722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9161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1683545"/>
            <a:ext cx="13716000" cy="3581400"/>
          </a:xfrm>
          <a:prstGeom prst="rect">
            <a:avLst/>
          </a:prstGeom>
        </p:spPr>
        <p:txBody>
          <a:bodyPr anchor="b"/>
          <a:lstStyle>
            <a:lvl1pPr algn="ctr"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5403057"/>
            <a:ext cx="13716000" cy="248364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B72BA555-E4DD-4B5B-93AE-AF8F25BCB338}" type="datetime1">
              <a:rPr lang="en-US" smtClean="0"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classifi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95600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95178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88401-A758-2654-0519-A708B2D4E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91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10894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5" y="2564608"/>
            <a:ext cx="15773400" cy="4279106"/>
          </a:xfrm>
          <a:prstGeom prst="rect">
            <a:avLst/>
          </a:prstGeom>
        </p:spPr>
        <p:txBody>
          <a:bodyPr anchor="b"/>
          <a:lstStyle>
            <a:lvl1pPr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5" y="6884195"/>
            <a:ext cx="15773400" cy="22502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850DECA0-2C99-466E-9908-5EE0D90038A5}" type="datetime1">
              <a:rPr lang="en-US" smtClean="0"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classifi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7088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738438"/>
            <a:ext cx="7772400" cy="6527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2738438"/>
            <a:ext cx="7772400" cy="6527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4BA23DC7-2A3B-4162-A8AE-640273FC1FEF}" type="datetime1">
              <a:rPr lang="en-US" smtClean="0"/>
              <a:t>2/2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6448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547688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3" y="2521745"/>
            <a:ext cx="7736681" cy="123586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3" y="3757613"/>
            <a:ext cx="7736681" cy="55268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0" y="2521745"/>
            <a:ext cx="7774782" cy="123586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0" y="3757613"/>
            <a:ext cx="7774782" cy="55268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0AF2E93B-C808-44B3-82F9-9ED09C7D64EF}" type="datetime1">
              <a:rPr lang="en-US" smtClean="0"/>
              <a:t>2/25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203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56468F91-FC2D-4C41-81FB-25D36AFF12FD}" type="datetime1">
              <a:rPr lang="en-US" smtClean="0"/>
              <a:t>2/25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0787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47827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EC0ED293-12AC-41D6-98FD-8C4AB3686376}" type="datetime1">
              <a:rPr lang="en-US" smtClean="0"/>
              <a:t>2/25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772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  <a:prstGeom prst="rect">
            <a:avLst/>
          </a:prstGeo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481138"/>
            <a:ext cx="9258300" cy="7310438"/>
          </a:xfrm>
          <a:prstGeom prst="rect">
            <a:avLst/>
          </a:prstGeo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4950CD0D-7DD1-4910-B115-9DF79E1D8354}" type="datetime1">
              <a:rPr lang="en-US" smtClean="0"/>
              <a:t>2/2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2256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  <a:prstGeom prst="rect">
            <a:avLst/>
          </a:prstGeo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774782" y="1481138"/>
            <a:ext cx="9258300" cy="7310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E1C1D88D-E03E-41F6-9F62-899165F7847D}" type="datetime1">
              <a:rPr lang="en-US" smtClean="0"/>
              <a:t>2/2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9960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2738438"/>
            <a:ext cx="15773400" cy="652700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0656E62C-500A-419E-A67C-B783351EC14B}" type="datetime1">
              <a:rPr lang="en-US" smtClean="0"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5081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0" y="547688"/>
            <a:ext cx="3943350" cy="8717757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547688"/>
            <a:ext cx="11601450" cy="871775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7E63F12A-04D1-447A-864A-F0224376A8EA}" type="datetime1">
              <a:rPr lang="en-US" smtClean="0"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1863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1401798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238125" cy="238125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450"/>
              </a:spcBef>
              <a:spcAft>
                <a:spcPts val="450"/>
              </a:spcAft>
            </a:pPr>
            <a:endParaRPr lang="en-US" sz="37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595264" y="1378877"/>
            <a:ext cx="13110756" cy="3693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6968789" y="9748133"/>
            <a:ext cx="488250" cy="2077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916130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35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916130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35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821532" y="9360452"/>
            <a:ext cx="16644936" cy="18466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2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1687174" y="62398"/>
            <a:ext cx="5765009" cy="184667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lang="en-US" sz="12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2595264" y="258318"/>
            <a:ext cx="13110756" cy="109728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38790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1508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7878404"/>
      </p:ext>
    </p:extLst>
  </p:cSld>
  <p:clrMapOvr>
    <a:masterClrMapping/>
  </p:clrMapOvr>
  <p:transition spd="slow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1BF434-823B-18F4-DFC3-821DC18491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91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69184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1683545"/>
            <a:ext cx="13716000" cy="3581400"/>
          </a:xfrm>
          <a:prstGeom prst="rect">
            <a:avLst/>
          </a:prstGeom>
        </p:spPr>
        <p:txBody>
          <a:bodyPr anchor="b"/>
          <a:lstStyle>
            <a:lvl1pPr algn="ctr"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5403057"/>
            <a:ext cx="13716000" cy="248364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B72BA555-E4DD-4B5B-93AE-AF8F25BCB338}" type="datetime1">
              <a:rPr lang="en-US" smtClean="0"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classifi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0920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5" y="2564608"/>
            <a:ext cx="15773400" cy="4279106"/>
          </a:xfrm>
          <a:prstGeom prst="rect">
            <a:avLst/>
          </a:prstGeom>
        </p:spPr>
        <p:txBody>
          <a:bodyPr anchor="b"/>
          <a:lstStyle>
            <a:lvl1pPr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5" y="6884195"/>
            <a:ext cx="15773400" cy="22502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850DECA0-2C99-466E-9908-5EE0D90038A5}" type="datetime1">
              <a:rPr lang="en-US" smtClean="0"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classifi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7485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52370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5" y="2564608"/>
            <a:ext cx="15773400" cy="4279106"/>
          </a:xfrm>
          <a:prstGeom prst="rect">
            <a:avLst/>
          </a:prstGeom>
        </p:spPr>
        <p:txBody>
          <a:bodyPr anchor="b"/>
          <a:lstStyle>
            <a:lvl1pPr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5" y="6884195"/>
            <a:ext cx="15773400" cy="22502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850DECA0-2C99-466E-9908-5EE0D90038A5}" type="datetime1">
              <a:rPr lang="en-US" smtClean="0"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classifi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34961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738438"/>
            <a:ext cx="7772400" cy="6527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2738438"/>
            <a:ext cx="7772400" cy="6527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4BA23DC7-2A3B-4162-A8AE-640273FC1FEF}" type="datetime1">
              <a:rPr lang="en-US" smtClean="0"/>
              <a:t>2/2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4050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547688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3" y="2521745"/>
            <a:ext cx="7736681" cy="123586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3" y="3757613"/>
            <a:ext cx="7736681" cy="55268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0" y="2521745"/>
            <a:ext cx="7774782" cy="123586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0" y="3757613"/>
            <a:ext cx="7774782" cy="55268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0AF2E93B-C808-44B3-82F9-9ED09C7D64EF}" type="datetime1">
              <a:rPr lang="en-US" smtClean="0"/>
              <a:t>2/25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1505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56468F91-FC2D-4C41-81FB-25D36AFF12FD}" type="datetime1">
              <a:rPr lang="en-US" smtClean="0"/>
              <a:t>2/25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3113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EC0ED293-12AC-41D6-98FD-8C4AB3686376}" type="datetime1">
              <a:rPr lang="en-US" smtClean="0"/>
              <a:t>2/25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2411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  <a:prstGeom prst="rect">
            <a:avLst/>
          </a:prstGeo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481138"/>
            <a:ext cx="9258300" cy="7310438"/>
          </a:xfrm>
          <a:prstGeom prst="rect">
            <a:avLst/>
          </a:prstGeo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4950CD0D-7DD1-4910-B115-9DF79E1D8354}" type="datetime1">
              <a:rPr lang="en-US" smtClean="0"/>
              <a:t>2/2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9459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  <a:prstGeom prst="rect">
            <a:avLst/>
          </a:prstGeo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774782" y="1481138"/>
            <a:ext cx="9258300" cy="7310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E1C1D88D-E03E-41F6-9F62-899165F7847D}" type="datetime1">
              <a:rPr lang="en-US" smtClean="0"/>
              <a:t>2/2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1502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2738438"/>
            <a:ext cx="15773400" cy="652700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0656E62C-500A-419E-A67C-B783351EC14B}" type="datetime1">
              <a:rPr lang="en-US" smtClean="0"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38782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0" y="547688"/>
            <a:ext cx="3943350" cy="8717757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547688"/>
            <a:ext cx="11601450" cy="871775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7E63F12A-04D1-447A-864A-F0224376A8EA}" type="datetime1">
              <a:rPr lang="en-US" smtClean="0"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7124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738438"/>
            <a:ext cx="7772400" cy="6527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2738438"/>
            <a:ext cx="7772400" cy="6527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4BA23DC7-2A3B-4162-A8AE-640273FC1FEF}" type="datetime1">
              <a:rPr lang="en-US" smtClean="0"/>
              <a:t>2/2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0095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1899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547688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3" y="2521745"/>
            <a:ext cx="7736681" cy="123586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3" y="3757613"/>
            <a:ext cx="7736681" cy="55268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0" y="2521745"/>
            <a:ext cx="7774782" cy="123586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0" y="3757613"/>
            <a:ext cx="7774782" cy="55268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0AF2E93B-C808-44B3-82F9-9ED09C7D64EF}" type="datetime1">
              <a:rPr lang="en-US" smtClean="0"/>
              <a:t>2/25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313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56468F91-FC2D-4C41-81FB-25D36AFF12FD}" type="datetime1">
              <a:rPr lang="en-US" smtClean="0"/>
              <a:t>2/25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0190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EC0ED293-12AC-41D6-98FD-8C4AB3686376}" type="datetime1">
              <a:rPr lang="en-US" smtClean="0"/>
              <a:t>2/25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3955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  <a:prstGeom prst="rect">
            <a:avLst/>
          </a:prstGeo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481138"/>
            <a:ext cx="9258300" cy="7310438"/>
          </a:xfrm>
          <a:prstGeom prst="rect">
            <a:avLst/>
          </a:prstGeo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4950CD0D-7DD1-4910-B115-9DF79E1D8354}" type="datetime1">
              <a:rPr lang="en-US" smtClean="0"/>
              <a:t>2/2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6753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  <a:prstGeom prst="rect">
            <a:avLst/>
          </a:prstGeo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774782" y="1481138"/>
            <a:ext cx="9258300" cy="7310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/>
          <a:lstStyle/>
          <a:p>
            <a:fld id="{E1C1D88D-E03E-41F6-9F62-899165F7847D}" type="datetime1">
              <a:rPr lang="en-US" smtClean="0"/>
              <a:t>2/2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364721" y="9270181"/>
            <a:ext cx="558185" cy="547688"/>
          </a:xfrm>
          <a:prstGeom prst="rect">
            <a:avLst/>
          </a:prstGeom>
        </p:spPr>
        <p:txBody>
          <a:bodyPr/>
          <a:lstStyle/>
          <a:p>
            <a:fld id="{F2D1CF49-5F77-4CA9-A30D-492125E53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7902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ey Background">
            <a:extLst>
              <a:ext uri="{FF2B5EF4-FFF2-40B4-BE49-F238E27FC236}">
                <a16:creationId xmlns:a16="http://schemas.microsoft.com/office/drawing/2014/main" id="{B3C945CD-8703-BB8A-2508-7B414E7F7994}"/>
              </a:ext>
            </a:extLst>
          </p:cNvPr>
          <p:cNvSpPr/>
          <p:nvPr userDrawn="1"/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rgbClr val="384B6E">
              <a:alpha val="8288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Grey Background">
            <a:extLst>
              <a:ext uri="{FF2B5EF4-FFF2-40B4-BE49-F238E27FC236}">
                <a16:creationId xmlns:a16="http://schemas.microsoft.com/office/drawing/2014/main" id="{650F82F8-5FA3-756C-19CC-1A4CB0EAEBEA}"/>
              </a:ext>
            </a:extLst>
          </p:cNvPr>
          <p:cNvSpPr/>
          <p:nvPr userDrawn="1"/>
        </p:nvSpPr>
        <p:spPr>
          <a:xfrm>
            <a:off x="-244699" y="-154546"/>
            <a:ext cx="18828913" cy="10779616"/>
          </a:xfrm>
          <a:prstGeom prst="rect">
            <a:avLst/>
          </a:prstGeom>
          <a:solidFill>
            <a:schemeClr val="tx2">
              <a:alpha val="82353"/>
            </a:schemeClr>
          </a:solidFill>
          <a:ln>
            <a:noFill/>
          </a:ln>
          <a:effectLst>
            <a:softEdge rad="330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738">
              <a:defRPr/>
            </a:pPr>
            <a:endParaRPr lang="en-US" sz="27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Left Banner">
            <a:extLst>
              <a:ext uri="{FF2B5EF4-FFF2-40B4-BE49-F238E27FC236}">
                <a16:creationId xmlns:a16="http://schemas.microsoft.com/office/drawing/2014/main" id="{3FBF80E9-FB50-434B-BCFB-5569E16CBD22}"/>
              </a:ext>
            </a:extLst>
          </p:cNvPr>
          <p:cNvSpPr/>
          <p:nvPr userDrawn="1"/>
        </p:nvSpPr>
        <p:spPr>
          <a:xfrm rot="5400000">
            <a:off x="8480436" y="-8227821"/>
            <a:ext cx="1314252" cy="18285049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8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8A3EA59-A1B5-1A78-03F8-80E460E33D31}"/>
              </a:ext>
            </a:extLst>
          </p:cNvPr>
          <p:cNvSpPr/>
          <p:nvPr userDrawn="1"/>
        </p:nvSpPr>
        <p:spPr>
          <a:xfrm>
            <a:off x="115910" y="115910"/>
            <a:ext cx="18043302" cy="10058400"/>
          </a:xfrm>
          <a:prstGeom prst="rect">
            <a:avLst/>
          </a:prstGeom>
          <a:noFill/>
          <a:ln w="254000"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2663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700" r:id="rId12"/>
  </p:sldLayoutIdLst>
  <p:hf hdr="0" ftr="0" dt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ey Background">
            <a:extLst>
              <a:ext uri="{FF2B5EF4-FFF2-40B4-BE49-F238E27FC236}">
                <a16:creationId xmlns:a16="http://schemas.microsoft.com/office/drawing/2014/main" id="{B3C945CD-8703-BB8A-2508-7B414E7F7994}"/>
              </a:ext>
            </a:extLst>
          </p:cNvPr>
          <p:cNvSpPr/>
          <p:nvPr userDrawn="1"/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rgbClr val="384B6E">
              <a:alpha val="8288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Grey Background">
            <a:extLst>
              <a:ext uri="{FF2B5EF4-FFF2-40B4-BE49-F238E27FC236}">
                <a16:creationId xmlns:a16="http://schemas.microsoft.com/office/drawing/2014/main" id="{650F82F8-5FA3-756C-19CC-1A4CB0EAEBEA}"/>
              </a:ext>
            </a:extLst>
          </p:cNvPr>
          <p:cNvSpPr/>
          <p:nvPr userDrawn="1"/>
        </p:nvSpPr>
        <p:spPr>
          <a:xfrm>
            <a:off x="-270457" y="-246308"/>
            <a:ext cx="18828913" cy="10779616"/>
          </a:xfrm>
          <a:prstGeom prst="rect">
            <a:avLst/>
          </a:prstGeom>
          <a:solidFill>
            <a:schemeClr val="tx2">
              <a:alpha val="82353"/>
            </a:schemeClr>
          </a:solidFill>
          <a:ln>
            <a:noFill/>
          </a:ln>
          <a:effectLst>
            <a:softEdge rad="330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738">
              <a:defRPr/>
            </a:pPr>
            <a:endParaRPr lang="en-US" sz="27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8A3EA59-A1B5-1A78-03F8-80E460E33D31}"/>
              </a:ext>
            </a:extLst>
          </p:cNvPr>
          <p:cNvSpPr/>
          <p:nvPr userDrawn="1"/>
        </p:nvSpPr>
        <p:spPr>
          <a:xfrm>
            <a:off x="122348" y="114300"/>
            <a:ext cx="18043302" cy="10058400"/>
          </a:xfrm>
          <a:prstGeom prst="rect">
            <a:avLst/>
          </a:prstGeom>
          <a:noFill/>
          <a:ln w="254000"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3425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30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</p:sldLayoutIdLst>
  <p:hf hdr="0" ftr="0" dt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ey Background">
            <a:extLst>
              <a:ext uri="{FF2B5EF4-FFF2-40B4-BE49-F238E27FC236}">
                <a16:creationId xmlns:a16="http://schemas.microsoft.com/office/drawing/2014/main" id="{B3C945CD-8703-BB8A-2508-7B414E7F7994}"/>
              </a:ext>
            </a:extLst>
          </p:cNvPr>
          <p:cNvSpPr/>
          <p:nvPr userDrawn="1"/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rgbClr val="384B6E">
              <a:alpha val="8288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Grey Background">
            <a:extLst>
              <a:ext uri="{FF2B5EF4-FFF2-40B4-BE49-F238E27FC236}">
                <a16:creationId xmlns:a16="http://schemas.microsoft.com/office/drawing/2014/main" id="{650F82F8-5FA3-756C-19CC-1A4CB0EAEBEA}"/>
              </a:ext>
            </a:extLst>
          </p:cNvPr>
          <p:cNvSpPr/>
          <p:nvPr userDrawn="1"/>
        </p:nvSpPr>
        <p:spPr>
          <a:xfrm>
            <a:off x="-244699" y="-154546"/>
            <a:ext cx="18828913" cy="10779616"/>
          </a:xfrm>
          <a:prstGeom prst="rect">
            <a:avLst/>
          </a:prstGeom>
          <a:solidFill>
            <a:schemeClr val="tx2">
              <a:alpha val="82353"/>
            </a:schemeClr>
          </a:solidFill>
          <a:ln>
            <a:noFill/>
          </a:ln>
          <a:effectLst>
            <a:softEdge rad="330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738">
              <a:defRPr/>
            </a:pPr>
            <a:endParaRPr lang="en-US" sz="27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8A3EA59-A1B5-1A78-03F8-80E460E33D31}"/>
              </a:ext>
            </a:extLst>
          </p:cNvPr>
          <p:cNvSpPr/>
          <p:nvPr userDrawn="1"/>
        </p:nvSpPr>
        <p:spPr>
          <a:xfrm>
            <a:off x="115910" y="115910"/>
            <a:ext cx="18043302" cy="10058400"/>
          </a:xfrm>
          <a:prstGeom prst="rect">
            <a:avLst/>
          </a:prstGeom>
          <a:noFill/>
          <a:ln w="254000"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9437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</p:sldLayoutIdLst>
  <p:hf hdr="0" ftr="0" dt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E53B799-C958-D569-31EE-DFE42DEE78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73598" y="223684"/>
            <a:ext cx="9839631" cy="9839631"/>
          </a:xfrm>
          <a:prstGeom prst="rect">
            <a:avLst/>
          </a:prstGeom>
          <a:noFill/>
          <a:ln>
            <a:noFill/>
          </a:ln>
          <a:effectLst>
            <a:glow rad="1270000">
              <a:schemeClr val="tx2">
                <a:lumMod val="50000"/>
                <a:alpha val="33000"/>
              </a:schemeClr>
            </a:glow>
            <a:softEdge rad="6350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E47F845-0C1F-0197-5F9C-49010A796B4F}"/>
              </a:ext>
            </a:extLst>
          </p:cNvPr>
          <p:cNvSpPr txBox="1"/>
          <p:nvPr/>
        </p:nvSpPr>
        <p:spPr>
          <a:xfrm>
            <a:off x="5886569" y="9033126"/>
            <a:ext cx="11988209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r" defTabSz="1371669">
              <a:defRPr/>
            </a:pPr>
            <a:r>
              <a:rPr lang="en-US" sz="6600" b="1" i="1" dirty="0">
                <a:solidFill>
                  <a:srgbClr val="FFD34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SWALD" panose="00000500000000000000" pitchFamily="2" charset="0"/>
              </a:rPr>
              <a:t>Gen Ken Wilsbach, CSAF 24 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96330B5C-3091-0DFB-B7B1-4B674F18373F}"/>
              </a:ext>
            </a:extLst>
          </p:cNvPr>
          <p:cNvSpPr txBox="1"/>
          <p:nvPr/>
        </p:nvSpPr>
        <p:spPr>
          <a:xfrm>
            <a:off x="255319" y="3229914"/>
            <a:ext cx="17777362" cy="2554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6600" b="1" spc="832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swald" panose="00000500000000000000" pitchFamily="2" charset="0"/>
              </a:rPr>
              <a:t>CAPSTONE 26-2</a:t>
            </a:r>
          </a:p>
        </p:txBody>
      </p:sp>
    </p:spTree>
    <p:extLst>
      <p:ext uri="{BB962C8B-B14F-4D97-AF65-F5344CB8AC3E}">
        <p14:creationId xmlns:p14="http://schemas.microsoft.com/office/powerpoint/2010/main" val="3101775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BE9137-FFC1-4E4F-A030-DF6DB47F7C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A picture containing person, person, standing&#10;&#10;AI-generated content may be incorrect.">
            <a:extLst>
              <a:ext uri="{FF2B5EF4-FFF2-40B4-BE49-F238E27FC236}">
                <a16:creationId xmlns:a16="http://schemas.microsoft.com/office/drawing/2014/main" id="{14C4F190-B722-DBBA-FD3A-F1A135CC95A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6" r="20639" b="5136"/>
          <a:stretch>
            <a:fillRect/>
          </a:stretch>
        </p:blipFill>
        <p:spPr>
          <a:xfrm>
            <a:off x="261174" y="5412693"/>
            <a:ext cx="5749085" cy="4594789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7" name="Picture 6" descr="A person in a suit shaking hands with a person in a suit&#10;&#10;AI-generated content may be incorrect.">
            <a:extLst>
              <a:ext uri="{FF2B5EF4-FFF2-40B4-BE49-F238E27FC236}">
                <a16:creationId xmlns:a16="http://schemas.microsoft.com/office/drawing/2014/main" id="{B03751E4-F3C1-410F-74AC-EEEB7FD9A09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80"/>
          <a:stretch>
            <a:fillRect/>
          </a:stretch>
        </p:blipFill>
        <p:spPr>
          <a:xfrm>
            <a:off x="162985" y="156653"/>
            <a:ext cx="5847275" cy="5314096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10" name="Picture 9" descr="A picture containing person&#10;&#10;AI-generated content may be incorrect.">
            <a:extLst>
              <a:ext uri="{FF2B5EF4-FFF2-40B4-BE49-F238E27FC236}">
                <a16:creationId xmlns:a16="http://schemas.microsoft.com/office/drawing/2014/main" id="{8760A9D1-A3A3-2D2B-8A4F-560F244B27C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255"/>
          <a:stretch>
            <a:fillRect/>
          </a:stretch>
        </p:blipFill>
        <p:spPr>
          <a:xfrm>
            <a:off x="6108789" y="112252"/>
            <a:ext cx="4250190" cy="5518160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12" name="Picture 11" descr="A couple of men shaking hands&#10;&#10;AI-generated content may be incorrect.">
            <a:extLst>
              <a:ext uri="{FF2B5EF4-FFF2-40B4-BE49-F238E27FC236}">
                <a16:creationId xmlns:a16="http://schemas.microsoft.com/office/drawing/2014/main" id="{47468A9F-6B2D-7228-51F5-9C57ED3191E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7" t="-165" r="14334" b="165"/>
          <a:stretch>
            <a:fillRect/>
          </a:stretch>
        </p:blipFill>
        <p:spPr>
          <a:xfrm>
            <a:off x="6083234" y="5178473"/>
            <a:ext cx="5993096" cy="4820820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15" name="Picture 14" descr="A group of soldiers walking&#10;&#10;AI-generated content may be incorrect.">
            <a:extLst>
              <a:ext uri="{FF2B5EF4-FFF2-40B4-BE49-F238E27FC236}">
                <a16:creationId xmlns:a16="http://schemas.microsoft.com/office/drawing/2014/main" id="{80ABF96D-CFD4-1AE1-7516-8A2965FA034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2"/>
          <a:stretch>
            <a:fillRect/>
          </a:stretch>
        </p:blipFill>
        <p:spPr>
          <a:xfrm>
            <a:off x="11877329" y="5198931"/>
            <a:ext cx="6139931" cy="4820821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17" name="Picture 16" descr="A picture containing text, person, indoor, person&#10;&#10;AI-generated content may be incorrect.">
            <a:extLst>
              <a:ext uri="{FF2B5EF4-FFF2-40B4-BE49-F238E27FC236}">
                <a16:creationId xmlns:a16="http://schemas.microsoft.com/office/drawing/2014/main" id="{A562A15C-F64D-DF54-5D51-3E9A1AB35B5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613"/>
          <a:stretch>
            <a:fillRect/>
          </a:stretch>
        </p:blipFill>
        <p:spPr>
          <a:xfrm>
            <a:off x="10148793" y="131481"/>
            <a:ext cx="8026479" cy="4953305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D51A51-CB9A-175A-5D40-0714D90AF3C4}"/>
              </a:ext>
            </a:extLst>
          </p:cNvPr>
          <p:cNvSpPr txBox="1"/>
          <p:nvPr/>
        </p:nvSpPr>
        <p:spPr>
          <a:xfrm>
            <a:off x="162985" y="112252"/>
            <a:ext cx="18012287" cy="1208548"/>
          </a:xfrm>
          <a:prstGeom prst="rect">
            <a:avLst/>
          </a:prstGeom>
          <a:solidFill>
            <a:schemeClr val="bg1">
              <a:lumMod val="85000"/>
              <a:alpha val="74902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2pPr lvl="1" algn="ctr" defTabSz="1371669">
              <a:defRPr sz="9000" b="1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OSWALD" panose="00000500000000000000" pitchFamily="2" charset="0"/>
              </a:defRPr>
            </a:lvl2pPr>
          </a:lstStyle>
          <a:p>
            <a:pPr lvl="1"/>
            <a:r>
              <a:rPr lang="en-US" sz="7200" dirty="0"/>
              <a:t>GENERALSHIP</a:t>
            </a:r>
          </a:p>
        </p:txBody>
      </p:sp>
      <p:sp>
        <p:nvSpPr>
          <p:cNvPr id="13" name="AutoShape 16" descr="U.S. Transportation Command (TRANSCOM), emblem - vector image">
            <a:extLst>
              <a:ext uri="{FF2B5EF4-FFF2-40B4-BE49-F238E27FC236}">
                <a16:creationId xmlns:a16="http://schemas.microsoft.com/office/drawing/2014/main" id="{7DB017DD-D62B-659D-DBA4-CD4287A2ED4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12069" y="4991099"/>
            <a:ext cx="3384331" cy="3384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094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>
          <a:extLst>
            <a:ext uri="{FF2B5EF4-FFF2-40B4-BE49-F238E27FC236}">
              <a16:creationId xmlns:a16="http://schemas.microsoft.com/office/drawing/2014/main" id="{B9DD9F03-C8DA-8727-8587-B5C5EEF46A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utoShape 16" descr="U.S. Transportation Command (TRANSCOM), emblem - vector image">
            <a:extLst>
              <a:ext uri="{FF2B5EF4-FFF2-40B4-BE49-F238E27FC236}">
                <a16:creationId xmlns:a16="http://schemas.microsoft.com/office/drawing/2014/main" id="{B8D91C78-5711-2F54-DC40-8003DD12B97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12069" y="4991099"/>
            <a:ext cx="3384331" cy="3384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8D3ACCBA-CFC9-E074-C572-CCC898A920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288000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B73EB75-0D18-072D-4065-0D937F41A7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250" y="98230"/>
            <a:ext cx="18070110" cy="500525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7206A3C-B728-EDAF-37B1-DB51F1A90B0E}"/>
              </a:ext>
            </a:extLst>
          </p:cNvPr>
          <p:cNvSpPr txBox="1"/>
          <p:nvPr/>
        </p:nvSpPr>
        <p:spPr>
          <a:xfrm>
            <a:off x="95250" y="98230"/>
            <a:ext cx="18097500" cy="1200329"/>
          </a:xfrm>
          <a:prstGeom prst="rect">
            <a:avLst/>
          </a:prstGeom>
          <a:solidFill>
            <a:schemeClr val="bg1">
              <a:lumMod val="85000"/>
              <a:alpha val="74902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2pPr lvl="1" algn="ctr" defTabSz="1371669">
              <a:defRPr sz="9000" b="1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OSWALD" panose="00000500000000000000" pitchFamily="2" charset="0"/>
              </a:defRPr>
            </a:lvl2pPr>
          </a:lstStyle>
          <a:p>
            <a:pPr lvl="1"/>
            <a:r>
              <a:rPr lang="en-US" sz="7200" dirty="0"/>
              <a:t>FLY &amp; FIX</a:t>
            </a:r>
          </a:p>
        </p:txBody>
      </p:sp>
    </p:spTree>
    <p:extLst>
      <p:ext uri="{BB962C8B-B14F-4D97-AF65-F5344CB8AC3E}">
        <p14:creationId xmlns:p14="http://schemas.microsoft.com/office/powerpoint/2010/main" val="21494460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4B0252-AA35-CBF0-7A35-7FD591B92D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utoShape 16" descr="U.S. Transportation Command (TRANSCOM), emblem - vector image">
            <a:extLst>
              <a:ext uri="{FF2B5EF4-FFF2-40B4-BE49-F238E27FC236}">
                <a16:creationId xmlns:a16="http://schemas.microsoft.com/office/drawing/2014/main" id="{64C19503-15CD-4032-35C4-4B24552C19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12069" y="4991099"/>
            <a:ext cx="3384331" cy="3384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D1B9BC04-2912-189C-6017-AC5C12EEFD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288000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E448809-4E99-4B72-EB4F-99CC5C2969EF}"/>
              </a:ext>
            </a:extLst>
          </p:cNvPr>
          <p:cNvSpPr txBox="1"/>
          <p:nvPr/>
        </p:nvSpPr>
        <p:spPr>
          <a:xfrm>
            <a:off x="100584" y="61550"/>
            <a:ext cx="18088356" cy="1200329"/>
          </a:xfrm>
          <a:prstGeom prst="rect">
            <a:avLst/>
          </a:prstGeom>
          <a:solidFill>
            <a:schemeClr val="bg1">
              <a:lumMod val="85000"/>
              <a:alpha val="74902"/>
            </a:schemeClr>
          </a:solidFill>
        </p:spPr>
        <p:txBody>
          <a:bodyPr wrap="square">
            <a:spAutoFit/>
          </a:bodyPr>
          <a:lstStyle/>
          <a:p>
            <a:pPr lvl="1" algn="ctr" defTabSz="1371669">
              <a:defRPr/>
            </a:pPr>
            <a:r>
              <a:rPr lang="en-US" sz="72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OSWALD" panose="00000500000000000000" pitchFamily="2" charset="0"/>
              </a:rPr>
              <a:t>READINESS…UNRELENTING FOCUS</a:t>
            </a:r>
          </a:p>
        </p:txBody>
      </p:sp>
      <p:pic>
        <p:nvPicPr>
          <p:cNvPr id="5" name="Picture 4" descr="A military jet flying in the sky&#10;&#10;AI-generated content may be incorrect.">
            <a:extLst>
              <a:ext uri="{FF2B5EF4-FFF2-40B4-BE49-F238E27FC236}">
                <a16:creationId xmlns:a16="http://schemas.microsoft.com/office/drawing/2014/main" id="{B5FEDF3C-26DE-60B6-78B5-A383153DC68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38250" y="11321360"/>
            <a:ext cx="7715250" cy="5143500"/>
          </a:xfrm>
          <a:prstGeom prst="rect">
            <a:avLst/>
          </a:prstGeom>
        </p:spPr>
      </p:pic>
      <p:pic>
        <p:nvPicPr>
          <p:cNvPr id="7" name="Picture 6" descr="A picture containing text, sky, person, outdoor&#10;&#10;AI-generated content may be incorrect.">
            <a:extLst>
              <a:ext uri="{FF2B5EF4-FFF2-40B4-BE49-F238E27FC236}">
                <a16:creationId xmlns:a16="http://schemas.microsoft.com/office/drawing/2014/main" id="{83B958B0-D7EE-3652-17B5-5A6A05BE33C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4919" y="11321360"/>
            <a:ext cx="9312166" cy="5238704"/>
          </a:xfrm>
          <a:prstGeom prst="rect">
            <a:avLst/>
          </a:prstGeom>
        </p:spPr>
      </p:pic>
      <p:pic>
        <p:nvPicPr>
          <p:cNvPr id="9" name="Picture 8" descr="A picture containing person&#10;&#10;AI-generated content may be incorrect.">
            <a:extLst>
              <a:ext uri="{FF2B5EF4-FFF2-40B4-BE49-F238E27FC236}">
                <a16:creationId xmlns:a16="http://schemas.microsoft.com/office/drawing/2014/main" id="{C0516053-A0EA-834E-0623-90016CE6FF1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5004" y="11321360"/>
            <a:ext cx="7620000" cy="508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28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FB899F-1D63-C5EB-9BEB-23351FCF5E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utoShape 16" descr="U.S. Transportation Command (TRANSCOM), emblem - vector image">
            <a:extLst>
              <a:ext uri="{FF2B5EF4-FFF2-40B4-BE49-F238E27FC236}">
                <a16:creationId xmlns:a16="http://schemas.microsoft.com/office/drawing/2014/main" id="{DC48D991-3186-97F5-4967-0EF0885C76D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12069" y="4991099"/>
            <a:ext cx="3384331" cy="3384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2B87EFE0-52D5-6D93-346A-8EAFBF1C8F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288000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56ABA82-E667-407A-9264-ED66F94F83A6}"/>
              </a:ext>
            </a:extLst>
          </p:cNvPr>
          <p:cNvSpPr txBox="1"/>
          <p:nvPr/>
        </p:nvSpPr>
        <p:spPr>
          <a:xfrm>
            <a:off x="100116" y="92654"/>
            <a:ext cx="18092634" cy="1138773"/>
          </a:xfrm>
          <a:prstGeom prst="rect">
            <a:avLst/>
          </a:prstGeom>
          <a:solidFill>
            <a:schemeClr val="bg1">
              <a:lumMod val="85000"/>
              <a:alpha val="74902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2pPr lvl="1" algn="ctr" defTabSz="1371669">
              <a:defRPr sz="9000" b="1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OSWALD" panose="00000500000000000000" pitchFamily="2" charset="0"/>
              </a:defRPr>
            </a:lvl2pPr>
          </a:lstStyle>
          <a:p>
            <a:pPr lvl="1"/>
            <a:r>
              <a:rPr lang="en-US" sz="6600" dirty="0"/>
              <a:t>MODERNIZATION…DOMINANCE INTO THE FUTURE</a:t>
            </a:r>
          </a:p>
        </p:txBody>
      </p:sp>
    </p:spTree>
    <p:extLst>
      <p:ext uri="{BB962C8B-B14F-4D97-AF65-F5344CB8AC3E}">
        <p14:creationId xmlns:p14="http://schemas.microsoft.com/office/powerpoint/2010/main" val="1066883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6">
            <a:extLst>
              <a:ext uri="{FF2B5EF4-FFF2-40B4-BE49-F238E27FC236}">
                <a16:creationId xmlns:a16="http://schemas.microsoft.com/office/drawing/2014/main" id="{CE06F352-6FB3-C7AF-9C4F-62DA5090B5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288000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7E67A4C-A78A-D820-BBB1-0EFC1AA1B24A}"/>
              </a:ext>
            </a:extLst>
          </p:cNvPr>
          <p:cNvSpPr txBox="1"/>
          <p:nvPr/>
        </p:nvSpPr>
        <p:spPr>
          <a:xfrm>
            <a:off x="92938" y="88111"/>
            <a:ext cx="18089880" cy="1107996"/>
          </a:xfrm>
          <a:prstGeom prst="rect">
            <a:avLst/>
          </a:prstGeom>
          <a:solidFill>
            <a:srgbClr val="D9D9D9">
              <a:alpha val="74902"/>
            </a:srgbClr>
          </a:solidFill>
        </p:spPr>
        <p:txBody>
          <a:bodyPr wrap="square">
            <a:spAutoFit/>
          </a:bodyPr>
          <a:lstStyle/>
          <a:p>
            <a:pPr marL="0" marR="0" lvl="0" indent="0" algn="ctr" defTabSz="1371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OSWALD" panose="00000500000000000000" pitchFamily="2" charset="0"/>
              </a:rPr>
              <a:t>PEOPLE…OUR FOUNDATION</a:t>
            </a:r>
          </a:p>
        </p:txBody>
      </p:sp>
    </p:spTree>
    <p:extLst>
      <p:ext uri="{BB962C8B-B14F-4D97-AF65-F5344CB8AC3E}">
        <p14:creationId xmlns:p14="http://schemas.microsoft.com/office/powerpoint/2010/main" val="3299894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82C3070-3782-11F2-3213-5DF95FDA60F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18765" y="223682"/>
            <a:ext cx="9839631" cy="9839631"/>
          </a:xfrm>
          <a:prstGeom prst="rect">
            <a:avLst/>
          </a:prstGeom>
          <a:noFill/>
          <a:ln>
            <a:noFill/>
          </a:ln>
          <a:effectLst>
            <a:glow rad="1270000">
              <a:schemeClr val="tx2">
                <a:lumMod val="50000"/>
                <a:alpha val="33000"/>
              </a:schemeClr>
            </a:glow>
            <a:softEdge rad="6350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DCE99F7-EF2D-7AD9-8322-B76C7ECA2567}"/>
              </a:ext>
            </a:extLst>
          </p:cNvPr>
          <p:cNvSpPr txBox="1"/>
          <p:nvPr/>
        </p:nvSpPr>
        <p:spPr>
          <a:xfrm>
            <a:off x="3601051" y="3943170"/>
            <a:ext cx="10753952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371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0" b="1" i="0" u="none" strike="noStrike" kern="1200" cap="none" spc="225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Oswald" panose="00000500000000000000" pitchFamily="2" charset="0"/>
                <a:ea typeface="Yu Gothic" panose="020B0400000000000000" pitchFamily="34" charset="-128"/>
                <a:cs typeface="+mn-cs"/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147059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3A07869D882648A96431C1019F6CCF" ma:contentTypeVersion="19" ma:contentTypeDescription="Create a new document." ma:contentTypeScope="" ma:versionID="70b5f66924413199460f137349dd1b2a">
  <xsd:schema xmlns:xsd="http://www.w3.org/2001/XMLSchema" xmlns:xs="http://www.w3.org/2001/XMLSchema" xmlns:p="http://schemas.microsoft.com/office/2006/metadata/properties" xmlns:ns2="de724392-4127-4023-8022-f34e3e4712d3" xmlns:ns3="f3734251-b688-48a9-9868-3bcfaa349d34" targetNamespace="http://schemas.microsoft.com/office/2006/metadata/properties" ma:root="true" ma:fieldsID="b74bee998377d9acded46573490334e8" ns2:_="" ns3:_="">
    <xsd:import namespace="de724392-4127-4023-8022-f34e3e4712d3"/>
    <xsd:import namespace="f3734251-b688-48a9-9868-3bcfaa349d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724392-4127-4023-8022-f34e3e4712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2" nillable="true" ma:displayName="Length (seconds)" ma:internalName="MediaLengthInSeconds" ma:readOnly="true">
      <xsd:simpleType>
        <xsd:restriction base="dms:Unknown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634031f-5af4-462f-909d-b01dcfe1034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734251-b688-48a9-9868-3bcfaa349d34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b1d13ab-b3d9-4dc2-81fa-676027a22dbf}" ma:internalName="TaxCatchAll" ma:showField="CatchAllData" ma:web="f3734251-b688-48a9-9868-3bcfaa349d3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e724392-4127-4023-8022-f34e3e4712d3">
      <Terms xmlns="http://schemas.microsoft.com/office/infopath/2007/PartnerControls"/>
    </lcf76f155ced4ddcb4097134ff3c332f>
    <TaxCatchAll xmlns="f3734251-b688-48a9-9868-3bcfaa349d34" xsi:nil="true"/>
  </documentManagement>
</p:properties>
</file>

<file path=customXml/itemProps1.xml><?xml version="1.0" encoding="utf-8"?>
<ds:datastoreItem xmlns:ds="http://schemas.openxmlformats.org/officeDocument/2006/customXml" ds:itemID="{7493E322-4576-4E0E-94CD-B8EFC597398D}"/>
</file>

<file path=customXml/itemProps2.xml><?xml version="1.0" encoding="utf-8"?>
<ds:datastoreItem xmlns:ds="http://schemas.openxmlformats.org/officeDocument/2006/customXml" ds:itemID="{7CB46FEC-C814-4442-8756-74903EB5AC91}"/>
</file>

<file path=customXml/itemProps3.xml><?xml version="1.0" encoding="utf-8"?>
<ds:datastoreItem xmlns:ds="http://schemas.openxmlformats.org/officeDocument/2006/customXml" ds:itemID="{9C3B235F-FC7E-4C60-B600-6F0658FC0C2F}"/>
</file>

<file path=docMetadata/LabelInfo.xml><?xml version="1.0" encoding="utf-8"?>
<clbl:labelList xmlns:clbl="http://schemas.microsoft.com/office/2020/mipLabelMetadata">
  <clbl:label id="{8331b18d-2d87-48ef-a35f-ac8818ebf9b4}" enabled="0" method="" siteId="{8331b18d-2d87-48ef-a35f-ac8818ebf9b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807</TotalTime>
  <Words>116</Words>
  <Application>Microsoft Office PowerPoint</Application>
  <PresentationFormat>Custom</PresentationFormat>
  <Paragraphs>19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Calibri</vt:lpstr>
      <vt:lpstr>OSWALD</vt:lpstr>
      <vt:lpstr>Aptos</vt:lpstr>
      <vt:lpstr>Arial</vt:lpstr>
      <vt:lpstr>OSWALD</vt:lpstr>
      <vt:lpstr>3_Office Theme</vt:lpstr>
      <vt:lpstr>4_Office Theme</vt:lpstr>
      <vt:lpstr>5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SAF_Capstone</dc:title>
  <dc:creator>HEITZMAN, DEANA M TSgt USAF HAF SAF/PAO</dc:creator>
  <cp:lastModifiedBy>VON HEILAND, MARIA A Lt Col USAF HAF AF/CX</cp:lastModifiedBy>
  <cp:revision>4</cp:revision>
  <cp:lastPrinted>2026-02-25T12:53:29Z</cp:lastPrinted>
  <dcterms:created xsi:type="dcterms:W3CDTF">2006-08-16T00:00:00Z</dcterms:created>
  <dcterms:modified xsi:type="dcterms:W3CDTF">2026-02-25T12:54:25Z</dcterms:modified>
  <dc:identifier>DAFDn3Su9HY</dc:identifier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3A07869D882648A96431C1019F6CCF</vt:lpwstr>
  </property>
</Properties>
</file>